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84" r:id="rId5"/>
    <p:sldId id="285" r:id="rId6"/>
    <p:sldId id="286" r:id="rId7"/>
    <p:sldId id="287" r:id="rId8"/>
    <p:sldId id="288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324" autoAdjust="0"/>
    <p:restoredTop sz="94622" autoAdjust="0"/>
  </p:normalViewPr>
  <p:slideViewPr>
    <p:cSldViewPr>
      <p:cViewPr>
        <p:scale>
          <a:sx n="80" d="100"/>
          <a:sy n="80" d="100"/>
        </p:scale>
        <p:origin x="-696" y="1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B898D55-B336-43A3-9CB5-3628CAC6DCD5}" type="datetimeFigureOut">
              <a:rPr lang="ru-RU"/>
              <a:pPr>
                <a:defRPr/>
              </a:pPr>
              <a:t>23.01.201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C942A362-ADF0-4BBB-BB7D-1131F97EE8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C9F5F41-3092-4F21-8DBC-1403D56556FC}" type="slidenum">
              <a:rPr lang="ru-RU" smtClean="0"/>
              <a:pPr/>
              <a:t>1</a:t>
            </a:fld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608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24C30AC-7259-46DB-83AA-05D5F0D7971F}" type="slidenum">
              <a:rPr lang="ru-RU" smtClean="0"/>
              <a:pPr/>
              <a:t>15</a:t>
            </a:fld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652D8FA-4865-44DE-81AE-6CA91055FAB6}" type="slidenum">
              <a:rPr lang="ru-RU" smtClean="0"/>
              <a:pPr/>
              <a:t>16</a:t>
            </a:fld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120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41B6C73-7AD0-491A-86BE-2A81BB6E4BD9}" type="slidenum">
              <a:rPr lang="ru-RU" smtClean="0"/>
              <a:pPr/>
              <a:t>17</a:t>
            </a:fld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427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FD7A532-7087-4806-82B7-05C11677551D}" type="slidenum">
              <a:rPr lang="ru-RU" smtClean="0"/>
              <a:pPr/>
              <a:t>18</a:t>
            </a:fld>
            <a:endParaRPr 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73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6087827-980E-4D7A-B356-D44937A0D3FE}" type="slidenum">
              <a:rPr lang="ru-RU" smtClean="0"/>
              <a:pPr/>
              <a:t>19</a:t>
            </a:fld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93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D023F72-68A2-4216-A73F-7946B117E6AB}" type="slidenum">
              <a:rPr lang="ru-RU" smtClean="0"/>
              <a:pPr/>
              <a:t>20</a:t>
            </a:fld>
            <a:endParaRPr lang="ru-R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144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93839CE-1BAB-4DD0-AF50-562D160B0D79}" type="slidenum">
              <a:rPr lang="ru-RU" smtClean="0"/>
              <a:pPr/>
              <a:t>21</a:t>
            </a:fld>
            <a:endParaRPr lang="ru-RU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C00572E-F9C6-4F16-8EC1-F08FDBD1195E}" type="slidenum">
              <a:rPr lang="ru-RU" smtClean="0"/>
              <a:pPr/>
              <a:t>22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662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A0483CE-C6FE-47DB-89F9-5159BA11102A}" type="slidenum">
              <a:rPr lang="ru-RU" smtClean="0"/>
              <a:pPr/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FFE5242-1917-410E-AFF5-79FB4B895DBD}" type="slidenum">
              <a:rPr lang="ru-RU" smtClean="0"/>
              <a:pPr/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B74F905-CDD2-4361-B055-C7504F1FB130}" type="slidenum">
              <a:rPr lang="ru-RU" smtClean="0"/>
              <a:pPr/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1A27DEB-CC6D-411D-BAE7-BFEDD0C6BEDB}" type="slidenum">
              <a:rPr lang="ru-RU" smtClean="0"/>
              <a:pPr/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33A87C9-D2CC-4B2D-80FD-71AF419006C4}" type="slidenum">
              <a:rPr lang="ru-RU" smtClean="0"/>
              <a:pPr/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618C087-0CB9-44AD-8744-6907A3DE5BDE}" type="slidenum">
              <a:rPr lang="ru-RU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CA79E15-97C6-4F92-8A37-DA68CBA8B8E2}" type="slidenum">
              <a:rPr lang="ru-RU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30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FD5E168-30A7-49FD-8E7D-A0C83BC4323D}" type="slidenum">
              <a:rPr lang="ru-RU" smtClean="0"/>
              <a:pPr/>
              <a:t>14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9BFFBB-4BE5-45A5-B6FF-82079CC319CF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F69EE-4552-457A-96C4-C7E061647F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05B4A0-0CFC-4DB6-AFAE-DBC27D9D314E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33751-1CE3-4806-83AE-B430E39984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163C4-CC45-451A-9D42-AE8F3D096BEA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8C8A9E-0999-4535-82BB-821DE34C16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E9C1B-43D7-4BC9-9121-AEBAD562EDE8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F30FB1-6B1A-4E5B-8871-04710E1417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F3140-1A59-4730-93E0-17A93375506E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E635D-4594-4D28-99FB-00E47601FB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6F67E7-59AA-4DEF-86EC-11A80CD8EC39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82B09-C575-41FD-AED7-D97EE958E0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F1B39C-2D4C-4181-B05A-C4BBF95F3504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EC7BDA-B781-40C2-80B3-058008595F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801CB-0A55-41B5-807C-28C577E85A00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D64C42-1A7B-4911-83E1-BF7AC9E055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200C45-DB13-43E7-93D6-06A0A7504B4B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8B622-A15D-483E-9BE9-491823E657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7CB752-C2F2-45CA-9FA9-BFB42AFE56C7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1DEE8C-C4D6-48E9-A87D-2CBBB29D25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632A5-3C7F-444F-8EEE-7A47348173BC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8890A1-4326-4F17-A54A-92129BEEE0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7829032-C40D-4E41-9F64-DE5B21053FED}" type="datetimeFigureOut">
              <a:rPr lang="en-US"/>
              <a:pPr>
                <a:defRPr/>
              </a:pPr>
              <a:t>1/2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D3DAD3B-E087-4C67-9E66-21E24F52EF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5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7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4"/>
          <p:cNvSpPr txBox="1">
            <a:spLocks noChangeArrowheads="1"/>
          </p:cNvSpPr>
          <p:nvPr/>
        </p:nvSpPr>
        <p:spPr bwMode="auto">
          <a:xfrm>
            <a:off x="4071938" y="5988050"/>
            <a:ext cx="6527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 b="1" dirty="0">
                <a:latin typeface="Calibri" pitchFamily="34" charset="0"/>
                <a:cs typeface="Times New Roman" pitchFamily="18" charset="0"/>
              </a:rPr>
              <a:t>2010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291" name="Прямоугольник 3"/>
          <p:cNvSpPr>
            <a:spLocks noChangeArrowheads="1"/>
          </p:cNvSpPr>
          <p:nvPr/>
        </p:nvSpPr>
        <p:spPr bwMode="auto">
          <a:xfrm>
            <a:off x="2071688" y="3643313"/>
            <a:ext cx="51435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000" b="1" dirty="0" smtClean="0">
                <a:latin typeface="Times New Roman" pitchFamily="18" charset="0"/>
                <a:cs typeface="Times New Roman" pitchFamily="18" charset="0"/>
              </a:rPr>
              <a:t>Challenges and Initiatives </a:t>
            </a:r>
          </a:p>
          <a:p>
            <a:pPr algn="ctr"/>
            <a:r>
              <a:rPr lang="en-US" sz="3000" b="1" dirty="0" smtClean="0">
                <a:latin typeface="Times New Roman" pitchFamily="18" charset="0"/>
                <a:cs typeface="Times New Roman" pitchFamily="18" charset="0"/>
              </a:rPr>
              <a:t>for 2010-2011 </a:t>
            </a:r>
            <a:endParaRPr lang="ka-GE" sz="3000" b="1" dirty="0"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12292" name="Picture 4" descr="mes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00375" y="1857375"/>
            <a:ext cx="1373188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extBox 5"/>
          <p:cNvSpPr txBox="1">
            <a:spLocks noChangeArrowheads="1"/>
          </p:cNvSpPr>
          <p:nvPr/>
        </p:nvSpPr>
        <p:spPr bwMode="auto">
          <a:xfrm>
            <a:off x="4500563" y="1882775"/>
            <a:ext cx="310373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Ministry of Education</a:t>
            </a:r>
          </a:p>
          <a:p>
            <a:r>
              <a:rPr lang="en-US" sz="2000" b="1" dirty="0">
                <a:solidFill>
                  <a:schemeClr val="tx2"/>
                </a:solidFill>
              </a:rPr>
              <a:t> and Science of Georgia</a:t>
            </a:r>
          </a:p>
          <a:p>
            <a:endParaRPr lang="en-US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71750" y="1326536"/>
            <a:ext cx="40005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Infrastructure</a:t>
            </a:r>
            <a:endParaRPr lang="en-US" sz="24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6866" name="Rectangle 1"/>
          <p:cNvSpPr>
            <a:spLocks noChangeArrowheads="1"/>
          </p:cNvSpPr>
          <p:nvPr/>
        </p:nvSpPr>
        <p:spPr bwMode="auto">
          <a:xfrm>
            <a:off x="1500166" y="2214554"/>
            <a:ext cx="6167437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Optimizing Schoo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mmunal Expenditures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mproving Logistical Support of  Education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esource Centers 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Refurbishing School Libraries</a:t>
            </a:r>
          </a:p>
          <a:p>
            <a:pPr eaLnBrk="0" hangingPunct="0">
              <a:buFont typeface="Wingdings" pitchFamily="2" charset="2"/>
              <a:buNone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Renovating School Cafeterias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Upgrad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ol Laboratories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enew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ports Equipments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C:\Users\Natia\Desktop\MES\PICS\computers3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66" y="2214554"/>
            <a:ext cx="6143668" cy="40905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7890" name="Прямоугольник 6"/>
          <p:cNvSpPr>
            <a:spLocks noChangeArrowheads="1"/>
          </p:cNvSpPr>
          <p:nvPr/>
        </p:nvSpPr>
        <p:spPr bwMode="auto">
          <a:xfrm>
            <a:off x="1500188" y="1500174"/>
            <a:ext cx="6143625" cy="3062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ptimizing School Expenditures</a:t>
            </a:r>
          </a:p>
          <a:p>
            <a:pPr algn="ctr"/>
            <a:endParaRPr lang="en-US" sz="2000" b="1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>
              <a:lnSpc>
                <a:spcPct val="150000"/>
              </a:lnSpc>
            </a:pPr>
            <a:endParaRPr lang="en-US" sz="1400" dirty="0">
              <a:latin typeface="Times New Roman" pitchFamily="18" charset="0"/>
            </a:endParaRPr>
          </a:p>
          <a:p>
            <a:pPr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Setting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up a special computer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oftware that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will monitor and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xamine schoo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ommunal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xpenditures. The software will enable the Ministry to provide assistance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to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chool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in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financial management. </a:t>
            </a:r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 dirty="0">
              <a:latin typeface="Sylfae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 dirty="0">
              <a:latin typeface="Sylfaen" pitchFamily="18" charset="0"/>
            </a:endParaRPr>
          </a:p>
          <a:p>
            <a:endParaRPr lang="ka-GE" sz="1400" dirty="0">
              <a:latin typeface="Sylfaen" pitchFamily="18" charset="0"/>
            </a:endParaRPr>
          </a:p>
          <a:p>
            <a:endParaRPr lang="ru-RU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C:\Users\Natia\Desktop\MES\PICS\remonti2s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71604" y="2471707"/>
            <a:ext cx="5857916" cy="43862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8914" name="Прямоугольник 6"/>
          <p:cNvSpPr>
            <a:spLocks noChangeArrowheads="1"/>
          </p:cNvSpPr>
          <p:nvPr/>
        </p:nvSpPr>
        <p:spPr bwMode="auto">
          <a:xfrm>
            <a:off x="1071563" y="1285860"/>
            <a:ext cx="7072312" cy="2739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dirty="0">
                <a:latin typeface="Sylfaen" pitchFamily="18" charset="0"/>
              </a:rPr>
              <a:t>    </a:t>
            </a:r>
            <a:endParaRPr lang="ka-GE" sz="1400" dirty="0">
              <a:latin typeface="Sylfaen" pitchFamily="18" charset="0"/>
            </a:endParaRPr>
          </a:p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Logistical Support of  Educational Resource Centers (ERCs)</a:t>
            </a:r>
            <a:endParaRPr lang="ka-GE" sz="2400" b="1" dirty="0">
              <a:latin typeface="Times New Roman" pitchFamily="18" charset="0"/>
            </a:endParaRPr>
          </a:p>
          <a:p>
            <a:pPr lvl="1"/>
            <a:endParaRPr lang="en-US" sz="1400" dirty="0" smtClean="0">
              <a:latin typeface="Times New Roman" pitchFamily="18" charset="0"/>
            </a:endParaRPr>
          </a:p>
          <a:p>
            <a:pPr lvl="1"/>
            <a:endParaRPr lang="ka-GE" sz="1400" dirty="0">
              <a:latin typeface="Times New Roma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ka-GE" sz="1400" dirty="0">
                <a:latin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Provid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RC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with the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ransportation Means</a:t>
            </a:r>
          </a:p>
          <a:p>
            <a:pPr lvl="1"/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Upgrading ERC Infrastructure</a:t>
            </a:r>
          </a:p>
          <a:p>
            <a:pPr lvl="1"/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Enhanc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ommunication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b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tween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the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Ministry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RC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chools</a:t>
            </a:r>
            <a:endParaRPr lang="ka-GE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 descr="C:\Users\Natia\Desktop\MES\PICS\bibliotekas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428728" y="2285992"/>
            <a:ext cx="6219825" cy="4143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938" name="Прямоугольник 6"/>
          <p:cNvSpPr>
            <a:spLocks noChangeArrowheads="1"/>
          </p:cNvSpPr>
          <p:nvPr/>
        </p:nvSpPr>
        <p:spPr bwMode="auto">
          <a:xfrm>
            <a:off x="1285875" y="1500174"/>
            <a:ext cx="6429375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buFont typeface="Wingdings" pitchFamily="2" charset="2"/>
              <a:buNone/>
            </a:pPr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efurbishing School Libraries</a:t>
            </a:r>
          </a:p>
          <a:p>
            <a:pPr algn="ctr" eaLnBrk="0" hangingPunct="0">
              <a:buFont typeface="Wingdings" pitchFamily="2" charset="2"/>
              <a:buNone/>
            </a:pPr>
            <a:endParaRPr lang="en-US" sz="2000" b="1" dirty="0" smtClean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buFont typeface="Wingdings" pitchFamily="2" charset="2"/>
              <a:buNone/>
            </a:pPr>
            <a:endParaRPr lang="ka-GE" sz="2000" b="1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Creating School Library Infrastructure </a:t>
            </a:r>
          </a:p>
          <a:p>
            <a:pPr eaLnBrk="0" hangingPunct="0">
              <a:buFont typeface="Wingdings" pitchFamily="2" charset="2"/>
              <a:buChar char="Ø"/>
            </a:pP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Providing Libraries with Current Textbook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ther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L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arning Materials</a:t>
            </a:r>
          </a:p>
          <a:p>
            <a:pPr eaLnBrk="0" hangingPunct="0"/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Developing a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ncept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lectronic Librarie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8" name="think-cell Slide" r:id="rId6" imgW="0" imgH="0" progId="">
              <p:embed/>
            </p:oleObj>
          </a:graphicData>
        </a:graphic>
      </p:graphicFrame>
      <p:pic>
        <p:nvPicPr>
          <p:cNvPr id="11276" name="Picture 12" descr="C:\Users\Natia\Desktop\MES\PICS\Untitled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66" y="2143116"/>
            <a:ext cx="6072230" cy="41969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148" name="Прямоугольник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57500" y="1428736"/>
            <a:ext cx="40655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enovating School Cafeterias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6149" name="TextBox 7"/>
          <p:cNvSpPr txBox="1">
            <a:spLocks noChangeArrowheads="1"/>
          </p:cNvSpPr>
          <p:nvPr/>
        </p:nvSpPr>
        <p:spPr bwMode="auto">
          <a:xfrm>
            <a:off x="1428750" y="2286000"/>
            <a:ext cx="5929313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 Roman" pitchFamily="2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reating Adequate Infrastructure 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Monitor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choo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N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utrition Standards on a Regular Basis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Outsourcing Food Services from Private Companies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Introducing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the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redit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rd System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2" name="think-cell Slide" r:id="rId6" imgW="0" imgH="0" progId="">
              <p:embed/>
            </p:oleObj>
          </a:graphicData>
        </a:graphic>
      </p:graphicFrame>
      <p:pic>
        <p:nvPicPr>
          <p:cNvPr id="12300" name="Picture 12" descr="C:\Users\Natia\Desktop\MES\PICS\Untitled-1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71604" y="2486018"/>
            <a:ext cx="5857916" cy="41042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172" name="Прямоугольник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14625" y="1457254"/>
            <a:ext cx="43396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Upgrading School Laboratories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7173" name="TextBox 9"/>
          <p:cNvSpPr txBox="1">
            <a:spLocks noChangeArrowheads="1"/>
          </p:cNvSpPr>
          <p:nvPr/>
        </p:nvSpPr>
        <p:spPr bwMode="auto">
          <a:xfrm>
            <a:off x="1500166" y="2643182"/>
            <a:ext cx="5929313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 Roman" pitchFamily="2" charset="0"/>
              </a:rPr>
              <a:t>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reat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chool Laboratories</a:t>
            </a:r>
          </a:p>
          <a:p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Providing Lab Equipment to Schools</a:t>
            </a:r>
          </a:p>
          <a:p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Using Virtual Labs to Better Master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kills in the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Natural Science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ubjects</a:t>
            </a:r>
            <a:endParaRPr lang="ka-GE" sz="1600" dirty="0">
              <a:latin typeface="Times New Roman" pitchFamily="18" charset="0"/>
              <a:cs typeface="Times New Roman" pitchFamily="18" charset="0"/>
            </a:endParaRPr>
          </a:p>
          <a:p>
            <a:endParaRPr lang="ka-GE" sz="1600" dirty="0">
              <a:latin typeface="Times New Roman" pitchFamily="18" charset="0"/>
            </a:endParaRPr>
          </a:p>
          <a:p>
            <a:endParaRPr lang="ru-RU" sz="1600" dirty="0">
              <a:latin typeface="Time Roman" pitchFamily="2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746" name="think-cell Slide" r:id="rId6" imgW="0" imgH="0" progId="">
              <p:embed/>
            </p:oleObj>
          </a:graphicData>
        </a:graphic>
      </p:graphicFrame>
      <p:pic>
        <p:nvPicPr>
          <p:cNvPr id="39937" name="Picture 1" descr="C:\Users\Natia\Desktop\MES\PICS\sport4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428728" y="2071678"/>
            <a:ext cx="6286544" cy="4531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196" name="Text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71604" y="1285860"/>
            <a:ext cx="5572125" cy="4062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lang="ka-GE" sz="12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buFont typeface="Wingdings" pitchFamily="2" charset="2"/>
              <a:buNone/>
            </a:pPr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enewing Sports Equipments</a:t>
            </a:r>
          </a:p>
          <a:p>
            <a:pPr algn="ctr" eaLnBrk="0" hangingPunct="0">
              <a:buFont typeface="Wingdings" pitchFamily="2" charset="2"/>
              <a:buNone/>
            </a:pPr>
            <a:endParaRPr lang="en-US" sz="14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buFont typeface="Wingdings" pitchFamily="2" charset="2"/>
              <a:buNone/>
            </a:pPr>
            <a:endParaRPr lang="en-US" sz="14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buFont typeface="Wingdings" pitchFamily="2" charset="2"/>
              <a:buNone/>
            </a:pPr>
            <a:endParaRPr lang="ka-GE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Renovat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port Indoor and Outdoor Playgrounds with Modern Equipment by Engaging Local Municipalities</a:t>
            </a: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roviding Schools with Sports Equipment 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2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en-US" sz="14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1"/>
          <p:cNvSpPr>
            <a:spLocks noChangeArrowheads="1"/>
          </p:cNvSpPr>
          <p:nvPr/>
        </p:nvSpPr>
        <p:spPr bwMode="auto">
          <a:xfrm>
            <a:off x="1500188" y="1264008"/>
            <a:ext cx="62150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</a:rPr>
              <a:t>Enhancing Communication between the Ministry, ERCs and Schools</a:t>
            </a:r>
            <a:endParaRPr lang="en-US" sz="2400" b="1" dirty="0">
              <a:latin typeface="Times New Roman" pitchFamily="18" charset="0"/>
            </a:endParaRPr>
          </a:p>
        </p:txBody>
      </p:sp>
      <p:sp>
        <p:nvSpPr>
          <p:cNvPr id="50178" name="Rectangle 2"/>
          <p:cNvSpPr>
            <a:spLocks noChangeArrowheads="1"/>
          </p:cNvSpPr>
          <p:nvPr/>
        </p:nvSpPr>
        <p:spPr bwMode="auto">
          <a:xfrm>
            <a:off x="1428750" y="2285992"/>
            <a:ext cx="6143625" cy="403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 Roman" pitchFamily="2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Holding Regular Meetings among Teachers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,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RCs 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Ministry Representatives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Developing a Mechanism of Passing Down the New Decision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 a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imely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fficient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M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ner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hroughout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Georgia </a:t>
            </a: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Design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formative and User-Friendly Web Site of the Ministry</a:t>
            </a:r>
          </a:p>
          <a:p>
            <a:pPr eaLnBrk="0" hangingPunct="0"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Develop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peci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W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b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rtal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for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Variou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rget Groups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Provid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Live Consultations to Any Interested Person via Special Electronic Monitors</a:t>
            </a:r>
          </a:p>
          <a:p>
            <a:pPr eaLnBrk="0" hangingPunct="0"/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Engaging Teacher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Decision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M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king Process by Participating in Special Summits (to be Organized in Every Two Week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Different Region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Georgia)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0" name="think-cell Slide" r:id="rId6" imgW="0" imgH="0" progId="">
              <p:embed/>
            </p:oleObj>
          </a:graphicData>
        </a:graphic>
      </p:graphicFrame>
      <p:pic>
        <p:nvPicPr>
          <p:cNvPr id="9219" name="Picture 11" descr="C:\Users\Natia\Desktop\MES\PICS\sssssmarn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88" y="2071688"/>
            <a:ext cx="6072187" cy="4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71604" y="1295743"/>
            <a:ext cx="585791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Times New Roman" pitchFamily="18" charset="0"/>
              </a:rPr>
              <a:t>Enhancing </a:t>
            </a:r>
            <a:r>
              <a:rPr lang="en-US" sz="2400" b="1" dirty="0" smtClean="0">
                <a:latin typeface="Times New Roman" pitchFamily="18" charset="0"/>
              </a:rPr>
              <a:t>the Learning </a:t>
            </a:r>
            <a:r>
              <a:rPr lang="en-US" sz="2400" b="1" dirty="0">
                <a:latin typeface="Times New Roman" pitchFamily="18" charset="0"/>
              </a:rPr>
              <a:t>of </a:t>
            </a:r>
            <a:r>
              <a:rPr lang="en-US" sz="2400" b="1" dirty="0" smtClean="0">
                <a:latin typeface="Times New Roman" pitchFamily="18" charset="0"/>
              </a:rPr>
              <a:t>the Georgian Language for Non-Georgian </a:t>
            </a:r>
            <a:r>
              <a:rPr lang="en-US" sz="2400" b="1" dirty="0">
                <a:latin typeface="Times New Roman" pitchFamily="18" charset="0"/>
              </a:rPr>
              <a:t>Population</a:t>
            </a:r>
          </a:p>
        </p:txBody>
      </p:sp>
      <p:sp>
        <p:nvSpPr>
          <p:cNvPr id="9221" name="Rectangle 1"/>
          <p:cNvSpPr>
            <a:spLocks noChangeArrowheads="1"/>
          </p:cNvSpPr>
          <p:nvPr/>
        </p:nvSpPr>
        <p:spPr bwMode="auto">
          <a:xfrm>
            <a:off x="1500166" y="2714620"/>
            <a:ext cx="614362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xpanding the Georgian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Language Learning Programs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couraging Multilingual Learning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Creating Multilingual School Books with 30% Georgian Texts in order to Make Georgian Learning Process More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ngag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asy for Students 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794" name="think-cell Slide" r:id="rId6" imgW="0" imgH="0" progId="">
              <p:embed/>
            </p:oleObj>
          </a:graphicData>
        </a:graphic>
      </p:graphicFrame>
      <p:pic>
        <p:nvPicPr>
          <p:cNvPr id="20491" name="Picture 11" descr="C:\Users\Natia\Desktop\MES\PICS\_MG_4053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357290" y="2214554"/>
            <a:ext cx="6152533" cy="385765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244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28750" y="1367181"/>
            <a:ext cx="621506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>
                <a:latin typeface="Times New Roman" pitchFamily="18" charset="0"/>
              </a:rPr>
              <a:t>Increasing an Access </a:t>
            </a:r>
            <a:r>
              <a:rPr lang="en-US" sz="2400" b="1" dirty="0" smtClean="0">
                <a:latin typeface="Times New Roman" pitchFamily="18" charset="0"/>
              </a:rPr>
              <a:t>to Education for  </a:t>
            </a:r>
            <a:r>
              <a:rPr lang="en-US" sz="2400" b="1" dirty="0">
                <a:latin typeface="Times New Roman" pitchFamily="18" charset="0"/>
              </a:rPr>
              <a:t>the Children with Special Educational </a:t>
            </a:r>
            <a:r>
              <a:rPr lang="en-US" sz="2400" b="1" dirty="0" smtClean="0">
                <a:latin typeface="Times New Roman" pitchFamily="18" charset="0"/>
              </a:rPr>
              <a:t>Needs</a:t>
            </a:r>
            <a:endParaRPr lang="en-US" sz="2400" b="1" dirty="0">
              <a:latin typeface="Times New Roman" pitchFamily="18" charset="0"/>
            </a:endParaRPr>
          </a:p>
        </p:txBody>
      </p:sp>
      <p:sp>
        <p:nvSpPr>
          <p:cNvPr id="10245" name="Rectangle 1"/>
          <p:cNvSpPr>
            <a:spLocks noChangeArrowheads="1"/>
          </p:cNvSpPr>
          <p:nvPr/>
        </p:nvSpPr>
        <p:spPr bwMode="auto">
          <a:xfrm>
            <a:off x="1500166" y="2714620"/>
            <a:ext cx="6215084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 Roman" pitchFamily="2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reating an Electronic Database for Voluntary Registration of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Children with Special Educational Needs </a:t>
            </a: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mprov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tergovernment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operation (Ministry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Labor, Health and Social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ffairs, Civil Registry of Ministry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Justice)  </a:t>
            </a:r>
          </a:p>
          <a:p>
            <a:pPr eaLnBrk="0" hangingPunct="0"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aising Public Awarenes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n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clusive Education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Enhancing th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ffectiveness of Multidisciplinary Teams’ Activities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ChangeArrowheads="1"/>
          </p:cNvSpPr>
          <p:nvPr/>
        </p:nvSpPr>
        <p:spPr bwMode="auto">
          <a:xfrm>
            <a:off x="2428860" y="1040769"/>
            <a:ext cx="40719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hallenges </a:t>
            </a:r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for 2010-2011</a:t>
            </a:r>
            <a:endParaRPr lang="ka-GE" sz="2400" b="1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1357291" y="1428736"/>
            <a:ext cx="6072229" cy="5693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creasing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ortance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the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High School Diploma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 smtClean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400" dirty="0" smtClean="0">
                <a:latin typeface="+mj-lt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couraging Students to Attend Classes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4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mproving and Finalizing the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National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urriculum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 smtClean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400" dirty="0" smtClean="0">
                <a:latin typeface="+mj-lt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the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Q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uality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extbooks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 smtClean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ntroducing and Developing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ncept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afe Schools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creasing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achers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’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roficiency Level Through Certification</a:t>
            </a: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Actively Involving Local Self-Governance Bodies in the Education Process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Infrastructure</a:t>
            </a:r>
            <a:endParaRPr lang="en-US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Enhancing Communication Between the Ministry, Education Resource Centers and </a:t>
            </a:r>
            <a:r>
              <a:rPr lang="en-US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ols</a:t>
            </a:r>
          </a:p>
          <a:p>
            <a:pPr>
              <a:buFont typeface="Wingdings" pitchFamily="2" charset="2"/>
              <a:buNone/>
            </a:pP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400" dirty="0">
                <a:latin typeface="+mj-lt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hancing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Learning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the Georgian Language for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Non-Georgian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opulation</a:t>
            </a: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400" dirty="0">
              <a:latin typeface="+mj-lt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400" dirty="0">
                <a:latin typeface="+mj-lt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creasing an Access to Education for Children with Special Educational Needs</a:t>
            </a:r>
          </a:p>
          <a:p>
            <a:pPr eaLnBrk="0" hangingPunct="0">
              <a:buFont typeface="Wingdings" pitchFamily="2" charset="2"/>
              <a:buChar char="Ø"/>
            </a:pPr>
            <a:endParaRPr lang="en-US" sz="1400" dirty="0">
              <a:latin typeface="Time Roman" pitchFamily="2" charset="0"/>
              <a:cs typeface="Arial" pitchFamily="34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400" dirty="0">
              <a:solidFill>
                <a:schemeClr val="accent2"/>
              </a:solidFill>
              <a:latin typeface="Sylfaen" pitchFamily="18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Content Placeholder 2"/>
          <p:cNvSpPr>
            <a:spLocks noGrp="1"/>
          </p:cNvSpPr>
          <p:nvPr>
            <p:ph idx="1"/>
          </p:nvPr>
        </p:nvSpPr>
        <p:spPr>
          <a:xfrm>
            <a:off x="1285875" y="2643200"/>
            <a:ext cx="6472238" cy="2500312"/>
          </a:xfrm>
        </p:spPr>
        <p:txBody>
          <a:bodyPr/>
          <a:lstStyle/>
          <a:p>
            <a:pPr algn="ctr">
              <a:buFont typeface="Arial" charset="0"/>
              <a:buNone/>
            </a:pPr>
            <a:r>
              <a:rPr lang="en-US" sz="2800" b="1" dirty="0" smtClean="0">
                <a:latin typeface="Times New Roman" pitchFamily="18" charset="0"/>
              </a:rPr>
              <a:t>Other Initiatives Planned for the      Years of 2010-1011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1"/>
          <p:cNvSpPr>
            <a:spLocks noChangeArrowheads="1"/>
          </p:cNvSpPr>
          <p:nvPr/>
        </p:nvSpPr>
        <p:spPr bwMode="auto">
          <a:xfrm>
            <a:off x="1500166" y="2428868"/>
            <a:ext cx="6286500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ntroduc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ncept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“Brand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ols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” to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Foster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mpetitiveness 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between the 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ols 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Creating  Alumni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lubs</a:t>
            </a: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Forming Special Profile Schools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Creating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tudents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’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elf-Government Board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eaching Politic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ulture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t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ols 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mplement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 Project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“Friends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the Book”</a:t>
            </a:r>
            <a:endParaRPr lang="ka-GE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600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60418" name="Rectangle 1"/>
          <p:cNvSpPr>
            <a:spLocks noChangeArrowheads="1"/>
          </p:cNvSpPr>
          <p:nvPr/>
        </p:nvSpPr>
        <p:spPr bwMode="auto">
          <a:xfrm>
            <a:off x="2143108" y="1213293"/>
            <a:ext cx="492918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>
                <a:latin typeface="Times New Roman" pitchFamily="18" charset="0"/>
              </a:rPr>
              <a:t>Other Initiatives for </a:t>
            </a:r>
            <a:r>
              <a:rPr lang="en-US" sz="2400" b="1" dirty="0" smtClean="0">
                <a:latin typeface="Times New Roman" pitchFamily="18" charset="0"/>
              </a:rPr>
              <a:t>the Years of </a:t>
            </a:r>
            <a:r>
              <a:rPr lang="ka-GE" sz="2400" b="1" dirty="0" smtClean="0">
                <a:latin typeface="Times New Roman" pitchFamily="18" charset="0"/>
              </a:rPr>
              <a:t>2010-2011</a:t>
            </a:r>
            <a:endParaRPr lang="en-US" sz="2400" b="1" dirty="0"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Box 3"/>
          <p:cNvSpPr txBox="1">
            <a:spLocks noChangeArrowheads="1"/>
          </p:cNvSpPr>
          <p:nvPr/>
        </p:nvSpPr>
        <p:spPr bwMode="auto">
          <a:xfrm>
            <a:off x="1929529" y="3214686"/>
            <a:ext cx="521437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800" b="1" dirty="0">
                <a:latin typeface="Calibri" pitchFamily="34" charset="0"/>
              </a:rPr>
              <a:t>Ministry of </a:t>
            </a:r>
            <a:endParaRPr lang="en-US" sz="2800" b="1" dirty="0" smtClean="0">
              <a:latin typeface="Calibri" pitchFamily="34" charset="0"/>
            </a:endParaRPr>
          </a:p>
          <a:p>
            <a:pPr algn="ctr"/>
            <a:r>
              <a:rPr lang="en-US" sz="2800" b="1" dirty="0" smtClean="0">
                <a:latin typeface="Calibri" pitchFamily="34" charset="0"/>
              </a:rPr>
              <a:t>Education </a:t>
            </a:r>
            <a:r>
              <a:rPr lang="en-US" sz="2800" b="1" dirty="0">
                <a:latin typeface="Calibri" pitchFamily="34" charset="0"/>
              </a:rPr>
              <a:t>and Science of Georgia </a:t>
            </a:r>
          </a:p>
        </p:txBody>
      </p:sp>
      <p:sp>
        <p:nvSpPr>
          <p:cNvPr id="23555" name="TextBox 4"/>
          <p:cNvSpPr txBox="1">
            <a:spLocks noChangeArrowheads="1"/>
          </p:cNvSpPr>
          <p:nvPr/>
        </p:nvSpPr>
        <p:spPr bwMode="auto">
          <a:xfrm>
            <a:off x="4071938" y="5988050"/>
            <a:ext cx="70008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 dirty="0">
                <a:latin typeface="Calibri" pitchFamily="34" charset="0"/>
              </a:rPr>
              <a:t>2010 </a:t>
            </a:r>
            <a:endParaRPr lang="en-US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C:\Users\Natia\Desktop\MES\PICS\moswavleebi2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484290" y="1565267"/>
            <a:ext cx="6215106" cy="41380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339" name="Rectangle 1"/>
          <p:cNvSpPr>
            <a:spLocks noChangeArrowheads="1"/>
          </p:cNvSpPr>
          <p:nvPr/>
        </p:nvSpPr>
        <p:spPr bwMode="auto">
          <a:xfrm>
            <a:off x="1571604" y="2805824"/>
            <a:ext cx="6143625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Overcoming the Minimum Competency Barrier in the National Examination Centers in order to Receive a High School Diploma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(from 2010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) </a:t>
            </a:r>
          </a:p>
          <a:p>
            <a:pPr>
              <a:buFont typeface="Wingdings" pitchFamily="2" charset="2"/>
              <a:buChar char="Ø"/>
            </a:pP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Providing Students with Intensive Preparation Courses in the 12</a:t>
            </a:r>
            <a:r>
              <a:rPr lang="en-US" sz="1600" baseline="300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Grade to Overcome the Minimum Competency Barrier (2010-2011)</a:t>
            </a:r>
          </a:p>
          <a:p>
            <a:pPr>
              <a:buFont typeface="Wingdings" pitchFamily="2" charset="2"/>
              <a:buChar char="Ø"/>
            </a:pPr>
            <a:endParaRPr lang="ka-GE" sz="1600" dirty="0">
              <a:solidFill>
                <a:schemeClr val="accent2"/>
              </a:solidFill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None/>
            </a:pPr>
            <a:endParaRPr lang="ka-GE" sz="1600" dirty="0">
              <a:solidFill>
                <a:schemeClr val="accent2"/>
              </a:solidFill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340" name="Rectangle 6"/>
          <p:cNvSpPr>
            <a:spLocks noChangeArrowheads="1"/>
          </p:cNvSpPr>
          <p:nvPr/>
        </p:nvSpPr>
        <p:spPr bwMode="auto">
          <a:xfrm>
            <a:off x="1785918" y="1428750"/>
            <a:ext cx="57864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Increasing the Importance of the</a:t>
            </a:r>
          </a:p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High School Diploma</a:t>
            </a:r>
            <a:endParaRPr lang="en-US" sz="24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C:\Users\Natia\Desktop\MES\PICS\222222s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643042" y="2495554"/>
            <a:ext cx="5908357" cy="39338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026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7" imgW="0" imgH="0" progId="">
              <p:embed/>
            </p:oleObj>
          </a:graphicData>
        </a:graphic>
      </p:graphicFrame>
      <p:sp>
        <p:nvSpPr>
          <p:cNvPr id="1028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14480" y="1255083"/>
            <a:ext cx="557214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couraging Students to Attend Classes</a:t>
            </a:r>
            <a:endParaRPr lang="en-US" sz="24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029" name="Rectangle 1"/>
          <p:cNvSpPr>
            <a:spLocks noChangeArrowheads="1"/>
          </p:cNvSpPr>
          <p:nvPr/>
        </p:nvSpPr>
        <p:spPr bwMode="auto">
          <a:xfrm>
            <a:off x="1357311" y="1857364"/>
            <a:ext cx="6429399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ttendance as One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th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Main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mponents of the Student’s Evaluation Criteria 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and Finalizing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the National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urriculum 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aising Students’ Motivation to Study through Interactive Lesson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couraging More Loc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ternation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lympics and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ntests 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roviding Access for Exchange Programs to Student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nlarging Summer-School Program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Supporting High School Honor Graduate Program (Medal Program)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:\Users\Natia\Desktop\MES\PICS\წიგნი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428728" y="2285992"/>
            <a:ext cx="6221146" cy="41434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050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7" imgW="0" imgH="0" progId="">
              <p:embed/>
            </p:oleObj>
          </a:graphicData>
        </a:graphic>
      </p:graphicFrame>
      <p:sp>
        <p:nvSpPr>
          <p:cNvPr id="2052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85918" y="1141855"/>
            <a:ext cx="564360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and Finalizing the </a:t>
            </a:r>
          </a:p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National Curriculum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53" name="TextBox 7"/>
          <p:cNvSpPr txBox="1">
            <a:spLocks noChangeArrowheads="1"/>
          </p:cNvSpPr>
          <p:nvPr/>
        </p:nvSpPr>
        <p:spPr bwMode="auto">
          <a:xfrm>
            <a:off x="1500188" y="2214563"/>
            <a:ext cx="5643562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endParaRPr lang="en-US" sz="1600" dirty="0" smtClean="0">
              <a:latin typeface="Time Roman" pitchFamily="2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Improving and Finaliz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he National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urriculum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for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l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12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Grades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Leav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he New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National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urriculum Unchanged for 5 Subsequent Years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Integrating New Subjects into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the National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urriculum: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	</a:t>
            </a:r>
            <a:r>
              <a:rPr lang="en-US" sz="1600" dirty="0" smtClean="0">
                <a:latin typeface="Calibri" pitchFamily="34" charset="0"/>
                <a:cs typeface="Times New Roman" pitchFamily="18" charset="0"/>
              </a:rPr>
              <a:t>-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ivil Defense and Safety</a:t>
            </a:r>
            <a:endParaRPr lang="ka-GE" sz="1600" dirty="0">
              <a:solidFill>
                <a:schemeClr val="accent2"/>
              </a:solidFill>
              <a:latin typeface="Calibri" pitchFamily="34" charset="0"/>
              <a:cs typeface="Times New Roman" pitchFamily="18" charset="0"/>
            </a:endParaRPr>
          </a:p>
          <a:p>
            <a:r>
              <a:rPr lang="ka-GE" sz="1600" dirty="0">
                <a:latin typeface="Calibri" pitchFamily="34" charset="0"/>
                <a:cs typeface="Times New Roman" pitchFamily="18" charset="0"/>
              </a:rPr>
              <a:t>	</a:t>
            </a:r>
            <a:r>
              <a:rPr lang="en-US" sz="1600" dirty="0" smtClean="0">
                <a:latin typeface="Calibri" pitchFamily="34" charset="0"/>
                <a:cs typeface="Times New Roman" pitchFamily="18" charset="0"/>
              </a:rPr>
              <a:t>-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Information Technology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r>
              <a:rPr lang="ka-GE" sz="1600" dirty="0">
                <a:latin typeface="Calibri" pitchFamily="34" charset="0"/>
                <a:cs typeface="Times New Roman" pitchFamily="18" charset="0"/>
              </a:rPr>
              <a:t>	</a:t>
            </a:r>
            <a:r>
              <a:rPr lang="en-US" sz="1600" dirty="0" smtClean="0">
                <a:latin typeface="Calibri" pitchFamily="34" charset="0"/>
                <a:cs typeface="Times New Roman" pitchFamily="18" charset="0"/>
              </a:rPr>
              <a:t>-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World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ulture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Replacing Physical Culture by Sports Classes</a:t>
            </a:r>
            <a:endParaRPr lang="ka-GE" sz="1600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2" descr="C:\Users\Natia\Desktop\MES\PICS\wigni1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4500562" y="1785926"/>
            <a:ext cx="3267075" cy="4905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8" imgW="0" imgH="0" progId="">
              <p:embed/>
            </p:oleObj>
          </a:graphicData>
        </a:graphic>
      </p:graphicFrame>
      <p:sp>
        <p:nvSpPr>
          <p:cNvPr id="3076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71670" y="1255083"/>
            <a:ext cx="50720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mproving the Quality of Textbooks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77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85852" y="2214554"/>
            <a:ext cx="6429420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Bringing School Textbooks in Full Compliance with the National Curriculum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nsuring Transparency of the Approval Process of Textbooks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Making Textbook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A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proval Rules Stricter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dopting Common Technica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S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andards for Textbooks (Size, Weight, Shape, Division, Font) 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Acad Nusx Geo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Monitoring Schools </a:t>
            </a:r>
            <a:r>
              <a:rPr lang="en-US" sz="1600" dirty="0" smtClean="0">
                <a:latin typeface="Sylfaen" pitchFamily="18" charset="0"/>
                <a:ea typeface="Calibri" pitchFamily="34" charset="0"/>
                <a:cs typeface="Times New Roman" pitchFamily="18" charset="0"/>
              </a:rPr>
              <a:t>fo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 Using Non-Approved Textbooks on a Regular Basis</a:t>
            </a:r>
            <a:endParaRPr lang="ka-GE" sz="1600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C:\Users\Natia\Desktop\MES\PICS\Untitled-2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66" y="2357430"/>
            <a:ext cx="6020467" cy="40005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4098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7" imgW="0" imgH="0" progId="">
              <p:embed/>
            </p:oleObj>
          </a:graphicData>
        </a:graphic>
      </p:graphicFrame>
      <p:sp>
        <p:nvSpPr>
          <p:cNvPr id="4100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85853" y="1368783"/>
            <a:ext cx="62150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troducing and Developing the </a:t>
            </a:r>
          </a:p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oncept of Safe Schools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01" name="Rectangle 2"/>
          <p:cNvSpPr>
            <a:spLocks noChangeArrowheads="1"/>
          </p:cNvSpPr>
          <p:nvPr/>
        </p:nvSpPr>
        <p:spPr bwMode="auto">
          <a:xfrm>
            <a:off x="1571605" y="2127163"/>
            <a:ext cx="5929334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troducing the Institution of the Security Guards in Schools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Dividing Schools into 3 Study Levels</a:t>
            </a:r>
          </a:p>
          <a:p>
            <a:pPr>
              <a:buFont typeface="Wingdings" pitchFamily="2" charset="2"/>
              <a:buChar char="Ø"/>
            </a:pPr>
            <a:endParaRPr lang="en-US" sz="16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Creating Safe Zones in Schools via Video Cameras </a:t>
            </a:r>
            <a:endParaRPr lang="en-US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Establishing Credit Card Paying System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for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tudents and Connecting it with Web Portal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rganizing Meetings for Students with Representatives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of  Police,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Prosecutor’s Office and Legal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id Service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 order to Raise their Awareness on Human 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ights and other </a:t>
            </a:r>
            <a:r>
              <a:rPr lang="en-US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Legal Issue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 descr="C:\Users\Natia\Desktop\MES\PICS\maswavleblebi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66" y="2000240"/>
            <a:ext cx="6092932" cy="45720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512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name="think-cell Slide" r:id="rId7" imgW="0" imgH="0" progId="">
              <p:embed/>
            </p:oleObj>
          </a:graphicData>
        </a:graphic>
      </p:graphicFrame>
      <p:sp>
        <p:nvSpPr>
          <p:cNvPr id="5124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71625" y="1368783"/>
            <a:ext cx="592931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creasing Teachers’ Proficiency Level through Certification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125" name="Rectangle 1"/>
          <p:cNvSpPr>
            <a:spLocks noChangeArrowheads="1"/>
          </p:cNvSpPr>
          <p:nvPr/>
        </p:nvSpPr>
        <p:spPr bwMode="auto">
          <a:xfrm>
            <a:off x="1500188" y="2078765"/>
            <a:ext cx="6072187" cy="403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endParaRPr lang="en-US" sz="1600" dirty="0" smtClean="0">
              <a:latin typeface="Time Roman" pitchFamily="2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eachers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’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Voluntary Certification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from </a:t>
            </a:r>
            <a:r>
              <a:rPr lang="ka-GE" sz="1600" dirty="0">
                <a:latin typeface="Times New Roman" pitchFamily="18" charset="0"/>
                <a:cs typeface="Times New Roman" pitchFamily="18" charset="0"/>
              </a:rPr>
              <a:t>2010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aying Bonuses to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Certified Teachers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ka-GE" sz="1600" dirty="0">
                <a:cs typeface="Times New Roman" pitchFamily="18" charset="0"/>
              </a:rPr>
              <a:t> 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roviding Permanent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rofessiona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velopment Training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(Teaching Methods, Professional Skills, Information Technologies</a:t>
            </a:r>
            <a:r>
              <a:rPr lang="ka-GE" sz="1600" dirty="0">
                <a:cs typeface="Times New Roman" pitchFamily="18" charset="0"/>
              </a:rPr>
              <a:t>)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nsuring Intensive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rofessional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velopment Training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for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eachers of Foreign Languages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600" dirty="0"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nhancing the Institution of Mentor-Teachers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Develop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dopting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Teachers Ethics Code</a:t>
            </a:r>
          </a:p>
          <a:p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Providing New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Additional Professional Textbooks for Teachers</a:t>
            </a:r>
            <a:endParaRPr lang="ka-GE" sz="1600" dirty="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3000" y="1480880"/>
            <a:ext cx="67151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Actively Involving Local Self-Governance Bodies in the Education Process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12" descr="C:\Users\Natia\Desktop\MES\PICS\remonti3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500166" y="2214554"/>
            <a:ext cx="5857916" cy="43934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364" name="Прямоугольник 7"/>
          <p:cNvSpPr>
            <a:spLocks noChangeArrowheads="1"/>
          </p:cNvSpPr>
          <p:nvPr/>
        </p:nvSpPr>
        <p:spPr bwMode="auto">
          <a:xfrm>
            <a:off x="1571604" y="2857496"/>
            <a:ext cx="5857875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Allocating </a:t>
            </a:r>
            <a:r>
              <a:rPr lang="ka-GE" sz="1600" dirty="0" smtClean="0">
                <a:latin typeface="Calibri" pitchFamily="34" charset="0"/>
                <a:cs typeface="Times New Roman" pitchFamily="18" charset="0"/>
              </a:rPr>
              <a:t>20</a:t>
            </a:r>
            <a:r>
              <a:rPr lang="ka-GE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million GEL to the Self-Governments for Improving School Infrastructure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Raising Interests of Self-Governments in Organizing</a:t>
            </a:r>
            <a:r>
              <a:rPr lang="ka-GE" sz="1600" dirty="0" smtClean="0">
                <a:latin typeface="Calibri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Different Activities in Education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S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ystem</a:t>
            </a: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600" dirty="0">
              <a:latin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Supporting Self-Government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in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ncouraging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T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eachers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Students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sr_gVhuEyGBzah.4oW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Afg4ZuGEanx9GRrJox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HvBxN3AUeAeg2HdsuQ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DDt7nkXkSPBcIyQMmZ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zoBlPPwkWg_.P7Ss3V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gTS5Dd1k611lyLvH3z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rV3n9eEy6FWwqiFS6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kr6Qsyukiz4zk8n0nA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zHn8HJkS6KUMZRMIy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WxbDcu.kihDNxH3s_j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25abrRL0S_sQN9FhaV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_DuHydSE.RwH_CmyC2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fgDskSg0KrPqiatj_m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LS9M0Vzke0XdxP5t6P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IQd3FLEUWKcvZ1bp0a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xQViEvZkS94vjHI4pU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LRJtMs5Ue_Bazel0.3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hwA_8mykSqsq4XL4YS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2F7kk_Ik.ho8LIs2hg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MtQx.wM02vd8naNsfZ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mJJNvreU.kfNS0iher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L0wkk5MkWvP59ux1V1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RqvvWtg0qBdz8ZuGt8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1ydLJmekCM5T0wsqKZ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6Nn3ac2Uy0ltb6OVcV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55</TotalTime>
  <Words>956</Words>
  <Application>Microsoft Office PowerPoint</Application>
  <PresentationFormat>On-screen Show (4:3)</PresentationFormat>
  <Paragraphs>228</Paragraphs>
  <Slides>22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Office Them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ia</dc:creator>
  <cp:lastModifiedBy>tamuna</cp:lastModifiedBy>
  <cp:revision>424</cp:revision>
  <dcterms:created xsi:type="dcterms:W3CDTF">2009-12-26T15:25:50Z</dcterms:created>
  <dcterms:modified xsi:type="dcterms:W3CDTF">2010-01-23T06:29:43Z</dcterms:modified>
</cp:coreProperties>
</file>